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6" r:id="rId2"/>
    <p:sldId id="259" r:id="rId3"/>
    <p:sldId id="298" r:id="rId4"/>
    <p:sldId id="285" r:id="rId5"/>
    <p:sldId id="281" r:id="rId6"/>
    <p:sldId id="286" r:id="rId7"/>
    <p:sldId id="291" r:id="rId8"/>
    <p:sldId id="299" r:id="rId9"/>
    <p:sldId id="300" r:id="rId10"/>
    <p:sldId id="301" r:id="rId11"/>
    <p:sldId id="294" r:id="rId12"/>
    <p:sldId id="29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9" d="100"/>
          <a:sy n="49" d="100"/>
        </p:scale>
        <p:origin x="85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AFEADC-65C6-4A76-B94B-60A114EE22AD}" type="datetimeFigureOut">
              <a:rPr lang="en-US" smtClean="0"/>
              <a:t>5/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793F20-F917-4AE3-8CF3-35E510369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530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7310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the notes here.</a:t>
            </a:r>
          </a:p>
          <a:p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517445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106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067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594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0625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the notes here.</a:t>
            </a:r>
          </a:p>
          <a:p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7412348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8831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6000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1547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221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5127434" y="0"/>
            <a:ext cx="7064567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988" y="6101474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2804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0802" y="2"/>
            <a:ext cx="57911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84688" y="-1"/>
            <a:ext cx="5907313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7593" y="1430234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7593" y="3253616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7593" y="5076998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2487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1000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4901352" y="838201"/>
            <a:ext cx="7290648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2104" y="2946391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66548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16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26697889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7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9288607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611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0513" y="1494990"/>
            <a:ext cx="21844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69098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91254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46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604764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9" y="1412877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036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51229B-416E-4AF8-837F-2882F165AD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 dirty="0"/>
              <a:t>BD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591D81-FAE1-48AB-BD3A-E7954D99D3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/>
              <a:t>Lesson 6 – Introduction to Seleniu</a:t>
            </a:r>
            <a:r>
              <a:rPr lang="en-US" sz="1800" dirty="0"/>
              <a:t>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5722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 Gri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45055" y="1338327"/>
            <a:ext cx="4909359" cy="4643751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Runs multiple tests on different machines against different browsers and operating systems in parallel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upport s distributed test executio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Run tests in a distributed test execution environment</a:t>
            </a:r>
          </a:p>
          <a:p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531" y="1410143"/>
            <a:ext cx="4419364" cy="3918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83525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n this lesson, you have learnt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Selenium is a free (open source) automated testing suite for web applications across different browsers and platform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Selenium</a:t>
            </a:r>
            <a:r>
              <a:rPr lang="en-US" sz="2000" dirty="0"/>
              <a:t> is a collection of different tool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Selenium IDE</a:t>
            </a:r>
            <a:r>
              <a:rPr lang="en-US" sz="2000" dirty="0"/>
              <a:t>, a Firefox add-on that you can only use in creating relatively simple test cases and test suite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Selenium</a:t>
            </a:r>
            <a:r>
              <a:rPr lang="en-US" sz="2000" dirty="0"/>
              <a:t> RC allows users to use programming languages in creating complex test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WebDriver</a:t>
            </a:r>
            <a:r>
              <a:rPr lang="en-US" sz="2000" dirty="0"/>
              <a:t>, allows test scripts to communicate directly to the browser, thereby controlling it from the OS level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Selenium Grid </a:t>
            </a:r>
            <a:r>
              <a:rPr lang="en-US" sz="2000" dirty="0"/>
              <a:t>is used with Selenium RC to execute parallel tests across different browsers and operating systems.</a:t>
            </a:r>
          </a:p>
        </p:txBody>
      </p:sp>
    </p:spTree>
    <p:extLst>
      <p:ext uri="{BB962C8B-B14F-4D97-AF65-F5344CB8AC3E}">
        <p14:creationId xmlns:p14="http://schemas.microsoft.com/office/powerpoint/2010/main" val="3734572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</a:t>
            </a:r>
          </a:p>
          <a:p>
            <a:r>
              <a:rPr lang="en-US" dirty="0"/>
              <a:t>Select the component which is NOT part of Selenium suite</a:t>
            </a:r>
          </a:p>
          <a:p>
            <a:pPr lvl="1"/>
            <a:r>
              <a:rPr lang="en-US" dirty="0"/>
              <a:t>Selenium IDE</a:t>
            </a:r>
          </a:p>
          <a:p>
            <a:pPr lvl="1"/>
            <a:r>
              <a:rPr lang="en-US" dirty="0"/>
              <a:t>Selenium RC</a:t>
            </a:r>
          </a:p>
          <a:p>
            <a:pPr lvl="1"/>
            <a:r>
              <a:rPr lang="en-US" dirty="0"/>
              <a:t>Selenium Grid</a:t>
            </a:r>
          </a:p>
          <a:p>
            <a:pPr lvl="1"/>
            <a:r>
              <a:rPr lang="en-US" dirty="0"/>
              <a:t>Selenium Web</a:t>
            </a:r>
          </a:p>
          <a:p>
            <a:r>
              <a:rPr lang="en-US" dirty="0"/>
              <a:t>Question 2: True/False</a:t>
            </a:r>
          </a:p>
          <a:p>
            <a:pPr lvl="1"/>
            <a:r>
              <a:rPr lang="en-US" dirty="0"/>
              <a:t>Selenium is a set of tools that supports rapid  development of test automation scripts for web based applications.</a:t>
            </a:r>
          </a:p>
          <a:p>
            <a:r>
              <a:rPr lang="en-US" dirty="0"/>
              <a:t>Question 3: Fill in the Blanks</a:t>
            </a:r>
          </a:p>
          <a:p>
            <a:pPr lvl="1"/>
            <a:r>
              <a:rPr lang="en-US" dirty="0"/>
              <a:t>WebDriver, unlike Selenium RC, does not rely on _________ for automa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451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roduction to Selenium</a:t>
            </a:r>
          </a:p>
          <a:p>
            <a:r>
              <a:rPr lang="en-US" dirty="0"/>
              <a:t>What it is and what it is not </a:t>
            </a:r>
          </a:p>
          <a:p>
            <a:r>
              <a:rPr lang="en-US" dirty="0"/>
              <a:t>Landscape and Usage</a:t>
            </a:r>
          </a:p>
          <a:p>
            <a:pPr lvl="1"/>
            <a:r>
              <a:rPr lang="en-US" dirty="0"/>
              <a:t>Selenium IDE</a:t>
            </a:r>
          </a:p>
          <a:p>
            <a:pPr lvl="1"/>
            <a:r>
              <a:rPr lang="en-US" dirty="0"/>
              <a:t>Selenium Remote Control (Selenium 1.0) </a:t>
            </a:r>
          </a:p>
          <a:p>
            <a:pPr lvl="1"/>
            <a:r>
              <a:rPr lang="en-US" dirty="0"/>
              <a:t>Selenium Web Driver (Selenium 2.0) </a:t>
            </a:r>
          </a:p>
          <a:p>
            <a:pPr lvl="1"/>
            <a:r>
              <a:rPr lang="en-US" dirty="0"/>
              <a:t>Selenium Grid  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5269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</a:t>
            </a:r>
            <a:br>
              <a:rPr lang="en-US" sz="1400" dirty="0"/>
            </a:br>
            <a:r>
              <a:rPr lang="en-US" dirty="0"/>
              <a:t>Introduction to Seleniu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3069" y="1107124"/>
            <a:ext cx="8845484" cy="464375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nvented by Jason R. Huggins, an engineer at </a:t>
            </a:r>
            <a:r>
              <a:rPr lang="en-US" dirty="0" err="1"/>
              <a:t>ThoughtWorks</a:t>
            </a:r>
            <a:r>
              <a:rPr lang="en-US" dirty="0"/>
              <a:t> 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While working on testing a web application, to reduce the repetitious manual testing, he created a JavaScript program that would automatically control the browser's actions and named as the "</a:t>
            </a:r>
            <a:r>
              <a:rPr lang="en-US" b="1" dirty="0" err="1"/>
              <a:t>JavaScriptTestRunner</a:t>
            </a:r>
            <a:r>
              <a:rPr lang="en-US" dirty="0"/>
              <a:t>." &amp; later re-named as </a:t>
            </a:r>
            <a:r>
              <a:rPr lang="en-US" b="1" dirty="0"/>
              <a:t>Selenium Core</a:t>
            </a:r>
            <a:endParaRPr lang="en-US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Free (open source) automated testing suite for web applications across different browsers and platform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elenium has a suite of tools which consists of the following: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Selenium IDE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Selenium RC (Remote Control), Also known as Selenium 1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Selenium Web driver or Selenium 2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Selenium Gri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Test cases in selenium can be written in many popular programming languages supported by selenium like Java, C#, Ruby, Python etc.</a:t>
            </a:r>
          </a:p>
        </p:txBody>
      </p:sp>
    </p:spTree>
    <p:extLst>
      <p:ext uri="{BB962C8B-B14F-4D97-AF65-F5344CB8AC3E}">
        <p14:creationId xmlns:p14="http://schemas.microsoft.com/office/powerpoint/2010/main" val="39551284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: What it is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lenium automates browsers. That's it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lenium is a portable testing API for web applic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b Application: Pure HTML &amp; JavaScript (No Flash, ActiveX, Silverlight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marily, it is for automating web applications for testing purposes, but is certainly not limited to just tha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Open Source and Freewa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orts multiple browsers &amp; OS.</a:t>
            </a:r>
          </a:p>
          <a:p>
            <a:pPr lvl="2"/>
            <a:r>
              <a:rPr lang="en-US" sz="1600" dirty="0"/>
              <a:t>Browsers: Firefox, Chrome, IE, Safari, Opera, </a:t>
            </a:r>
            <a:r>
              <a:rPr lang="en-US" sz="1600" dirty="0" err="1"/>
              <a:t>PhantomJS</a:t>
            </a:r>
            <a:endParaRPr lang="en-US" sz="1600" dirty="0"/>
          </a:p>
          <a:p>
            <a:pPr lvl="2"/>
            <a:r>
              <a:rPr lang="en-US" sz="1600" dirty="0"/>
              <a:t>OS: Windows, MAC, Linux, Android, 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process Headless execution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0272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: What it is NOT?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lenium is NOT a Test Too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NOT a Framewo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NOT a installable softwa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NOT a Programming Languag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803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</a:t>
            </a:r>
            <a:br>
              <a:rPr lang="en-US" sz="1400" dirty="0"/>
            </a:br>
            <a:r>
              <a:rPr lang="en-US" dirty="0"/>
              <a:t>Landscape and Usag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lenium is not just a single tool but a suite of software's, each catering to different testing needs of an organization. </a:t>
            </a:r>
            <a:r>
              <a:rPr lang="en-US" i="1" dirty="0"/>
              <a:t>It has four components:</a:t>
            </a:r>
          </a:p>
          <a:p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428" y="2659295"/>
            <a:ext cx="6789690" cy="3449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096804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/>
              <a:t>Overview of Selenium ID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refox plug in, allows you to record, play back, edit, and debug tests in brows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lows you to record user actions on browser window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nerate scripts from recorded user actions in most of the popular languages like Java, C#, Perl, Ruby etc. However to run them in an automated testing fashion you need to use Selenium Web Driv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lenium default scripts are html (added JavaScript) and that is the script we are going to use it in selenium 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reason for availability of other language is, user can get the scripts for Selenium WebDriver/RC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also has a context menu (right-click) integrated with the Firefox browser, which allows the user to pick from a list of assertions and verifications for the selected location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4643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 Remote Control (Selenium 1.0)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95399" y="1277988"/>
            <a:ext cx="4809512" cy="4643751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elenium Remote Control (RC) is a test tool that allows you to write automated web application UI tests in any programming language against any HTTP website using any mainstream JavaScript-enabled browser. 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elenium RC comes in two parts:</a:t>
            </a:r>
          </a:p>
          <a:p>
            <a:pPr lvl="2">
              <a:lnSpc>
                <a:spcPct val="100000"/>
              </a:lnSpc>
            </a:pPr>
            <a:r>
              <a:rPr lang="en-US" sz="1600" dirty="0"/>
              <a:t>A server which automatically launches and kills browsers, and acts as a HTTP proxy for web requests from them.</a:t>
            </a:r>
          </a:p>
          <a:p>
            <a:pPr lvl="2">
              <a:lnSpc>
                <a:spcPct val="100000"/>
              </a:lnSpc>
            </a:pPr>
            <a:r>
              <a:rPr lang="en-US" sz="1600" dirty="0"/>
              <a:t>Client libraries for your favorite computer language.</a:t>
            </a:r>
          </a:p>
          <a:p>
            <a:pPr lvl="1"/>
            <a:endParaRPr lang="en-US" sz="18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795" y="1519664"/>
            <a:ext cx="3789229" cy="4045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204236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 Web Driver (Selenium 2.0)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elenium WebDriver proves itself to be better than both Selenium IDE and Selenium RC in many aspect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mplements a more modern and stable approach in automating the browser's action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WebDriver, unlike Selenium RC, does not rely on JavaScript for automation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controls the browser by directly communicating to i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010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92441EE4-A40B-4409-B9B7-28D595E8C3C4}" vid="{128A1EAF-D87B-4F1D-AE0E-CD7F193D41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y_template</Template>
  <TotalTime>5</TotalTime>
  <Words>605</Words>
  <Application>Microsoft Office PowerPoint</Application>
  <PresentationFormat>Widescreen</PresentationFormat>
  <Paragraphs>83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Verdana</vt:lpstr>
      <vt:lpstr>Wingdings</vt:lpstr>
      <vt:lpstr>Section slides</vt:lpstr>
      <vt:lpstr>think-cell Slide</vt:lpstr>
      <vt:lpstr>BDD</vt:lpstr>
      <vt:lpstr>Lesson Objectives</vt:lpstr>
      <vt:lpstr>2.1: Introduction to Selenium Introduction to Selenium</vt:lpstr>
      <vt:lpstr>2.1: Introduction To Selenium Selenium: What it is?</vt:lpstr>
      <vt:lpstr>2.1: Introduction To Selenium Selenium: What it is NOT?</vt:lpstr>
      <vt:lpstr>2.1: Introduction To Selenium Landscape and Usage</vt:lpstr>
      <vt:lpstr>2.1: Introduction To Selenium  Overview of Selenium IDE</vt:lpstr>
      <vt:lpstr>2.1: Introduction To Selenium  Selenium Remote Control (Selenium 1.0) </vt:lpstr>
      <vt:lpstr>2.1: Introduction To Selenium  Selenium Web Driver (Selenium 2.0) </vt:lpstr>
      <vt:lpstr>2.1: Introduction To Selenium  Selenium Grid</vt:lpstr>
      <vt:lpstr>Summary</vt:lpstr>
      <vt:lpstr>Review Ques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DD</dc:title>
  <dc:creator>Tembhare, Anjulata</dc:creator>
  <cp:lastModifiedBy>Tembhare, Anjulata</cp:lastModifiedBy>
  <cp:revision>2</cp:revision>
  <dcterms:created xsi:type="dcterms:W3CDTF">2018-05-03T06:33:42Z</dcterms:created>
  <dcterms:modified xsi:type="dcterms:W3CDTF">2018-05-08T13:52:22Z</dcterms:modified>
</cp:coreProperties>
</file>